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1"/>
  </p:sldMasterIdLst>
  <p:notesMasterIdLst>
    <p:notesMasterId r:id="rId21"/>
  </p:notesMasterIdLst>
  <p:handoutMasterIdLst>
    <p:handoutMasterId r:id="rId22"/>
  </p:handoutMasterIdLst>
  <p:sldIdLst>
    <p:sldId id="273" r:id="rId2"/>
    <p:sldId id="409" r:id="rId3"/>
    <p:sldId id="430" r:id="rId4"/>
    <p:sldId id="411" r:id="rId5"/>
    <p:sldId id="431" r:id="rId6"/>
    <p:sldId id="413" r:id="rId7"/>
    <p:sldId id="426" r:id="rId8"/>
    <p:sldId id="422" r:id="rId9"/>
    <p:sldId id="428" r:id="rId10"/>
    <p:sldId id="429" r:id="rId11"/>
    <p:sldId id="432" r:id="rId12"/>
    <p:sldId id="433" r:id="rId13"/>
    <p:sldId id="434" r:id="rId14"/>
    <p:sldId id="435" r:id="rId15"/>
    <p:sldId id="436" r:id="rId16"/>
    <p:sldId id="437" r:id="rId17"/>
    <p:sldId id="438" r:id="rId18"/>
    <p:sldId id="439" r:id="rId19"/>
    <p:sldId id="421" r:id="rId20"/>
  </p:sldIdLst>
  <p:sldSz cx="9906000" cy="6858000" type="A4"/>
  <p:notesSz cx="6761163" cy="9942513"/>
  <p:custDataLst>
    <p:tags r:id="rId2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111" d="100"/>
          <a:sy n="111" d="100"/>
        </p:scale>
        <p:origin x="-1410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27416" cy="497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30590" y="0"/>
            <a:ext cx="2930574" cy="497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30.06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2" y="9444911"/>
            <a:ext cx="2927416" cy="497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30590" y="9444911"/>
            <a:ext cx="2930574" cy="497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2927416" cy="497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30590" y="0"/>
            <a:ext cx="2930574" cy="497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30.06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4222" y="4721661"/>
            <a:ext cx="5412720" cy="4476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2" y="9444911"/>
            <a:ext cx="2927416" cy="497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30590" y="9444911"/>
            <a:ext cx="2930574" cy="497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905001"/>
            <a:ext cx="817245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572000"/>
            <a:ext cx="700024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189865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5486400"/>
            <a:ext cx="8297994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3852863"/>
            <a:ext cx="6646994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79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79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5495544"/>
            <a:ext cx="84201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0199" y="6096000"/>
            <a:ext cx="84201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0200" y="381000"/>
            <a:ext cx="84201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98" y="5495278"/>
            <a:ext cx="84201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6305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6898" y="6096000"/>
            <a:ext cx="84201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255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255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63050" y="0"/>
            <a:ext cx="7429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63050" y="5486400"/>
            <a:ext cx="74295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2770" y="5648960"/>
            <a:ext cx="59436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8317790" y="4033520"/>
            <a:ext cx="2367281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dirty="0" smtClean="0"/>
              <a:t>Слайд №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8282231" y="1630680"/>
            <a:ext cx="2438399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30.06.2022</a:t>
            </a:fld>
            <a:endParaRPr lang="ru-RU" dirty="0"/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4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" y="1602817"/>
            <a:ext cx="9144000" cy="1250119"/>
          </a:xfrm>
        </p:spPr>
        <p:txBody>
          <a:bodyPr>
            <a:normAutofit fontScale="92500" lnSpcReduction="10000"/>
          </a:bodyPr>
          <a:lstStyle/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яющий обязанности заместителя руководителя </a:t>
            </a: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ого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й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по экологическому, технологическому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омному надзору</a:t>
            </a: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Font typeface="Arial" charset="0"/>
              <a:buNone/>
            </a:pPr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35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мокиш Сергей Сергеевич</a:t>
            </a:r>
            <a:endParaRPr lang="ru-RU" sz="35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531380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37126" y="16347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11113" y="180975"/>
            <a:ext cx="9190359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220907"/>
            <a:ext cx="92014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3683839"/>
            <a:ext cx="914400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облемах </a:t>
            </a:r>
            <a:r>
              <a:rPr lang="ru-RU" sz="2800" dirty="0" smtClean="0"/>
              <a:t>прохождения </a:t>
            </a:r>
          </a:p>
          <a:p>
            <a:pPr algn="ctr"/>
            <a:r>
              <a:rPr lang="ru-RU" sz="2800" dirty="0" smtClean="0"/>
              <a:t>осенне-зимнего периода 2021-2022 гг. на </a:t>
            </a:r>
            <a:r>
              <a:rPr lang="ru-RU" sz="2800" dirty="0"/>
              <a:t>территории Алтайского края и </a:t>
            </a:r>
            <a:r>
              <a:rPr lang="ru-RU" sz="2800" dirty="0" smtClean="0"/>
              <a:t>Республики Алтай.</a:t>
            </a:r>
          </a:p>
          <a:p>
            <a:pPr algn="ctr"/>
            <a:r>
              <a:rPr lang="ru-RU" sz="28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ка </a:t>
            </a:r>
            <a:r>
              <a:rPr lang="ru-RU" sz="2800" dirty="0">
                <a:solidFill>
                  <a:schemeClr val="tx1">
                    <a:lumMod val="95000"/>
                  </a:schemeClr>
                </a:solidFill>
                <a:cs typeface="Times New Roman" panose="02020603050405020304" pitchFamily="18" charset="0"/>
              </a:rPr>
              <a:t>к прохождению осенне-зимнего периода </a:t>
            </a:r>
            <a:r>
              <a:rPr lang="ru-RU" sz="2800" dirty="0" smtClean="0">
                <a:solidFill>
                  <a:schemeClr val="tx1">
                    <a:lumMod val="95000"/>
                  </a:schemeClr>
                </a:solidFill>
                <a:cs typeface="Times New Roman" panose="02020603050405020304" pitchFamily="18" charset="0"/>
              </a:rPr>
              <a:t>2022-2023 </a:t>
            </a:r>
            <a:r>
              <a:rPr lang="ru-RU" sz="2800" dirty="0">
                <a:solidFill>
                  <a:schemeClr val="tx1">
                    <a:lumMod val="95000"/>
                  </a:schemeClr>
                </a:solidFill>
                <a:cs typeface="Times New Roman" panose="02020603050405020304" pitchFamily="18" charset="0"/>
              </a:rPr>
              <a:t>гг. </a:t>
            </a:r>
            <a:endParaRPr lang="ru-RU" sz="28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817651" y="6273224"/>
            <a:ext cx="1747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июня 2022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21790"/>
              </p:ext>
            </p:extLst>
          </p:nvPr>
        </p:nvGraphicFramePr>
        <p:xfrm>
          <a:off x="632520" y="1412776"/>
          <a:ext cx="8136904" cy="330050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024336">
                <a:tc>
                  <a:txBody>
                    <a:bodyPr/>
                    <a:lstStyle/>
                    <a:p>
                      <a:pPr algn="just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рафики подготовки к предстоящему отопительному периоду источников теплоты, тепловых сетей и систем теплопотребления разрабатываются до окончания текущего отопительного периода, но не позднее мая текущего года.</a:t>
                      </a:r>
                    </a:p>
                    <a:p>
                      <a:pPr algn="just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ледовательно, к отопительному периоду 2022-2023 годов должны быть разработаны новые мероприятия с учётом выявленных дефектов, а так же норм и правил при эксплуатации тепловых энергоустановок.</a:t>
                      </a:r>
                    </a:p>
                    <a:p>
                      <a:pPr algn="ctr"/>
                      <a:endParaRPr lang="ru-RU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022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4189131"/>
              </p:ext>
            </p:extLst>
          </p:nvPr>
        </p:nvGraphicFramePr>
        <p:xfrm>
          <a:off x="632520" y="1412776"/>
          <a:ext cx="8136904" cy="586082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02433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новные нарушения выявляемые при контроле за ходом подготовки к осенне-зимнему периоду.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тсутствует подготовленный теплотехнический и электротехнический персонал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своевременно проводится ремонт оборудования, либо при приемке оборудования из ремонта, не проводится оценка качества ремонта;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ится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ибродиагностический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онтроль вращающихся механизмов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ится техническое диагностирование технических устройств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ится техническое освидетельствование строительных конструкций зданий и сооружений котельных, имеются здания и сооружения с видимыми повреждениями строительных конструкций;</a:t>
                      </a:r>
                    </a:p>
                    <a:p>
                      <a:pPr algn="ctr"/>
                      <a:endParaRPr lang="ru-RU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173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7054455"/>
              </p:ext>
            </p:extLst>
          </p:nvPr>
        </p:nvGraphicFramePr>
        <p:xfrm>
          <a:off x="632520" y="1412776"/>
          <a:ext cx="8136904" cy="512930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0243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ятся необходимые инструментально-визуальное наружные и внутренние обследования дымовых труб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организован (отсутствует) водно-химический режим тепловых энергоустановок и сетей;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одвергались гидравлическим испытаниям тепловые сети или же после проведения ремонтных работ и устранения, выявленных в ходе гидравлических испытаний дефектов не производятся повторные гидравлические испытания с целью определения прочности и плотности тепловых сетей;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 персонал не обеспечен испытанными электрозащитными средствами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едены испытания и измерения электрооборудования.</a:t>
                      </a: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2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471961"/>
              </p:ext>
            </p:extLst>
          </p:nvPr>
        </p:nvGraphicFramePr>
        <p:xfrm>
          <a:off x="632520" y="1412776"/>
          <a:ext cx="8136904" cy="366626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0243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допускается эксплуатация технических устройств без проведения экспертиз промышленной безопасности.</a:t>
                      </a:r>
                    </a:p>
                    <a:p>
                      <a:pPr marL="0" algn="just" defTabSz="914400" rtl="0" eaLnBrk="1" latinLnBrk="0" hangingPunct="1"/>
                      <a:endParaRPr lang="ru-RU" sz="24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 выше изложенного следует, основной проблемой объектов теплоснабжения Алтайского края является  износ зданий, сооружений тепловых энергоустановок, тепловых сетей, не проведение необходимых диагностик, обследований, ремонтов оборудования, зданий и сооружений. </a:t>
                      </a:r>
                    </a:p>
                    <a:p>
                      <a:pPr algn="ctr"/>
                      <a:endParaRPr lang="ru-RU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267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1136576" y="901088"/>
            <a:ext cx="77843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/>
              <a:t>Управление обеспокоено, следующим при подготовке и прохождении осенне-зимнего периода 2022-2023.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8421782"/>
              </p:ext>
            </p:extLst>
          </p:nvPr>
        </p:nvGraphicFramePr>
        <p:xfrm>
          <a:off x="560512" y="1844824"/>
          <a:ext cx="8136904" cy="512930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0243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	Ситуацией сложившейся в городе Яровом на МУП «ЯТЭК».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равлением в декабре 2021 года проведена выездная проверка по контролю исполнения предписаний МУП «ЯТЭК». В ходе проведения проверки выявлено, что МУП «ЯТЭК» не устранило 52 нарушения из 120, в том числе непосредственно влияющих на прохождение осенне-зимнего периода, основные из них: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еден капитальный ремонт паровому котлу, зданиям и сооружениям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главный корпус ТЭЦ по результатам экспертизы промышленной безопасности не в полной мере соответствует требованиям промышленной безопасности;</a:t>
                      </a:r>
                    </a:p>
                    <a:p>
                      <a:pPr algn="ctr"/>
                      <a:endParaRPr lang="ru-RU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11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5033993"/>
              </p:ext>
            </p:extLst>
          </p:nvPr>
        </p:nvGraphicFramePr>
        <p:xfrm>
          <a:off x="632520" y="1412776"/>
          <a:ext cx="8280920" cy="5068349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302433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отлы эксплуатируется без экспертиз промышленной безопасности; 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заменено 35 участков трубопроводов тепловых сетей с утонением стенки 20% и более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бак-аккумулятор эксплуатируется в неисправном состоянии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отлы эксплуатируются в неудовлетворительном состоянии, а так же им не проведена режимно-наладочные испытания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тсутствует ремонтная документация, подтверждающая качество ремонта котлов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другие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ким </a:t>
                      </a:r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разом, </a:t>
                      </a:r>
                      <a:r>
                        <a:rPr lang="ru-RU" sz="2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к уже отмечались выше произошедшие в отопительном периоде аварийные ситуации и инциденты на теплоэлектроцентрали и не устраненные нарушения говорят о неудовлетворительном состоянии оборудования.</a:t>
                      </a:r>
                    </a:p>
                    <a:p>
                      <a:pPr marL="0" algn="just" defTabSz="914400" rtl="0" eaLnBrk="1" latinLnBrk="0" hangingPunct="1"/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413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3632720"/>
              </p:ext>
            </p:extLst>
          </p:nvPr>
        </p:nvGraphicFramePr>
        <p:xfrm>
          <a:off x="632520" y="1233214"/>
          <a:ext cx="8136904" cy="598274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5624786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	Ситуацией сложившейся в Муниципальном образовании Каменского района.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равлением 09 сентября 2021 года, в рамках контроля хода подготовки к ОЗП, проведена выездная проверка МУП «Каменские теплосети». В ходе проведения проверки выявлено 260 нарушений, в том числе непосредственно влияющих на прохождение ОЗП: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тсутствует лицензия на эксплуатацию взрывопожароопасных и химически опасных производственных объектов I, II и III классов опасности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ится необходимый ремонт, диагностика, испытания котлов, сосудов, трубопроводов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одятся обследования зданий и сооружений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организован (отсутствует) водно-химический режим тепловых энергоустановок и сетей;</a:t>
                      </a:r>
                    </a:p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не проведена режимная наладка котлов в котельных</a:t>
                      </a:r>
                    </a:p>
                    <a:p>
                      <a:pPr algn="ctr"/>
                      <a:endParaRPr lang="ru-RU" sz="24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718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9469"/>
              </p:ext>
            </p:extLst>
          </p:nvPr>
        </p:nvGraphicFramePr>
        <p:xfrm>
          <a:off x="632520" y="1412776"/>
          <a:ext cx="8136904" cy="3513869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3312368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	В период подготовки к ОЗП так же остро стоит вопрос с задолженностью у теплоснабжающих организаций за потребленную электроэнергию. По данным, представленным гарантирующими поставщиками: АО «</a:t>
                      </a:r>
                      <a:r>
                        <a:rPr lang="ru-RU" sz="23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тайэнергосбыт</a:t>
                      </a:r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» и АО «</a:t>
                      </a:r>
                      <a:r>
                        <a:rPr lang="ru-RU" sz="23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тайкрайэнерго</a:t>
                      </a:r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», на территории Алтайского края на 23.06.2022, 149 котельных отключены от электроснабжения, по причине наличия задолженности по оплате электрической энергии. Отсутствие электричества не позволяет в полном объеме проводить ремонты и готовить котельные к отопительному периоду. </a:t>
                      </a:r>
                      <a:endParaRPr lang="ru-RU" sz="23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904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106092"/>
              </p:ext>
            </p:extLst>
          </p:nvPr>
        </p:nvGraphicFramePr>
        <p:xfrm>
          <a:off x="488504" y="1301198"/>
          <a:ext cx="8208912" cy="2812829"/>
        </p:xfrm>
        <a:graphic>
          <a:graphicData uri="http://schemas.openxmlformats.org/drawingml/2006/table">
            <a:tbl>
              <a:tblPr/>
              <a:tblGrid>
                <a:gridCol w="8208912"/>
              </a:tblGrid>
              <a:tr h="72008"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ru-RU" sz="23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	По полученной информации от Минстроя Алтайского края на территории Алтайского края у 511 отопительных котельных отсутствует стационарный независимый источник электроснабжения. При отсутствии резервных источников питания на котельных в случае возникновения аварийной ситуации на источнике электроснабжения полностью отключается все оборудование, что приводит к перерывам в теплоснабжении потребителей.</a:t>
                      </a:r>
                      <a:endParaRPr lang="ru-RU" sz="23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46082" name="Picture 2" descr="C:\Users\User\Desktop\АД 200 ЯМЗ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96" y="4143601"/>
            <a:ext cx="3888432" cy="2621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3" name="Picture 3" descr="C:\Users\User\Desktop\ЯМЗ-751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498" y="4143601"/>
            <a:ext cx="3828904" cy="257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551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198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1258346" y="1573966"/>
            <a:ext cx="6820501" cy="197137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клад окончен.</a:t>
            </a:r>
            <a:b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дарю за внимание!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566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6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496616" y="845051"/>
            <a:ext cx="698477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/>
                <a:cs typeface="+mn-cs"/>
              </a:rPr>
              <a:t>Итоги оценки готовности муниципальных образований к прохождению 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/>
                <a:cs typeface="+mn-cs"/>
              </a:rPr>
              <a:t>ОЗП 2021-2022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276544"/>
              </p:ext>
            </p:extLst>
          </p:nvPr>
        </p:nvGraphicFramePr>
        <p:xfrm>
          <a:off x="416496" y="1340768"/>
          <a:ext cx="8284775" cy="4536504"/>
        </p:xfrm>
        <a:graphic>
          <a:graphicData uri="http://schemas.openxmlformats.org/drawingml/2006/table">
            <a:tbl>
              <a:tblPr/>
              <a:tblGrid>
                <a:gridCol w="8284775"/>
              </a:tblGrid>
              <a:tr h="453650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итогам оценки готовности на территории Алтайского края и Республике Алтай из 110 муниципальных образований готовыми к прохождению осенне-зимнего периода 2021-2022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г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были признано 101 муниципальное образование,  9 муниципальных образований, расположенных на территории Алтайского края признаны не готовыми к осенне-зимнему периоду. 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получают паспорта готовности более трех лет четыре муниципальных образования: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льменский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ссовет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льменского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района,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абарский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униципальный район, город Алейск, город Яровое </a:t>
                      </a:r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078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60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496616" y="845051"/>
            <a:ext cx="698477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/>
                <a:cs typeface="+mn-cs"/>
              </a:rPr>
              <a:t>П</a:t>
            </a:r>
            <a:r>
              <a:rPr lang="ru-RU" sz="2000" dirty="0" smtClean="0">
                <a:solidFill>
                  <a:schemeClr val="tx2">
                    <a:lumMod val="50000"/>
                  </a:schemeClr>
                </a:solidFill>
                <a:latin typeface="Times New Roman"/>
                <a:cs typeface="+mn-cs"/>
              </a:rPr>
              <a:t>рохождение </a:t>
            </a:r>
            <a:r>
              <a:rPr lang="ru-RU" sz="2000" dirty="0">
                <a:solidFill>
                  <a:schemeClr val="tx2">
                    <a:lumMod val="50000"/>
                  </a:schemeClr>
                </a:solidFill>
                <a:latin typeface="Times New Roman"/>
                <a:cs typeface="+mn-cs"/>
              </a:rPr>
              <a:t>осенне-зимнего периода 2021-2022 гг. на территории Алтайского края и Республике Алтай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703441"/>
              </p:ext>
            </p:extLst>
          </p:nvPr>
        </p:nvGraphicFramePr>
        <p:xfrm>
          <a:off x="416496" y="1844824"/>
          <a:ext cx="8284775" cy="4763549"/>
        </p:xfrm>
        <a:graphic>
          <a:graphicData uri="http://schemas.openxmlformats.org/drawingml/2006/table">
            <a:tbl>
              <a:tblPr/>
              <a:tblGrid>
                <a:gridCol w="8284775"/>
              </a:tblGrid>
              <a:tr h="453650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 прохождении осенне-зимнего периода 2021-2022 гг. на территории Алтайского края и Республике Алтай аварийных ситуаций, приведших: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 прекращению теплоснабжения на срок более 24 часов; 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 разрушению или повреждению оборудования объектов, которое привело к выходу из строя источников тепловой энергии или тепловых сетей на срок 3 суток и более;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 разрушению или повреждению сооружений, в которых находятся объекты, приведшие к прекращению теплоснабжения потребителей, не произошло.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к прекращению (ограничения) электроснабжения потребителей на срок 24 часа и более - не было.</a:t>
                      </a:r>
                    </a:p>
                    <a:p>
                      <a:pPr algn="just" fontAlgn="ctr"/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491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2850874"/>
              </p:ext>
            </p:extLst>
          </p:nvPr>
        </p:nvGraphicFramePr>
        <p:xfrm>
          <a:off x="1208584" y="770635"/>
          <a:ext cx="7488832" cy="462579"/>
        </p:xfrm>
        <a:graphic>
          <a:graphicData uri="http://schemas.openxmlformats.org/drawingml/2006/table">
            <a:tbl>
              <a:tblPr/>
              <a:tblGrid>
                <a:gridCol w="7488832"/>
              </a:tblGrid>
              <a:tr h="462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варийные ситуации и инциденты на объектах теплоснабжения</a:t>
                      </a:r>
                      <a:endParaRPr lang="ru-RU" sz="2000" b="1" i="0" u="none" strike="noStrike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pSp>
        <p:nvGrpSpPr>
          <p:cNvPr id="18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19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0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21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2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2770" y="5648960"/>
            <a:ext cx="594360" cy="396240"/>
          </a:xfrm>
        </p:spPr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756351"/>
              </p:ext>
            </p:extLst>
          </p:nvPr>
        </p:nvGraphicFramePr>
        <p:xfrm>
          <a:off x="211468" y="1340769"/>
          <a:ext cx="4967784" cy="5472607"/>
        </p:xfrm>
        <a:graphic>
          <a:graphicData uri="http://schemas.openxmlformats.org/drawingml/2006/table">
            <a:tbl>
              <a:tblPr/>
              <a:tblGrid>
                <a:gridCol w="4967784"/>
              </a:tblGrid>
              <a:tr h="54726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Яровое</a:t>
                      </a:r>
                    </a:p>
                    <a:p>
                      <a:pPr algn="just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ериод с 01.11.2021 по 08.11.2021 и с 18.12.2021 по 19.12.2021 в г. Яровом на теплоэлектроцентрали МУП «ЯТЭК» произошло 6 инцидентов на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тлоагрегатах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одна аварийная ситуация, классифицируемая, как авария в электроэнергетике (остановлен персоналом паровой котел по причине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шлаковки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топки котла). 25 января был отключен паровой котел ст.№ 10. Инциденты и аварии привели к снижению параметров теплоносителя.</a:t>
                      </a:r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44034" name="Picture 2" descr="C:\Users\User\Downloads\IMG-20220628-WA000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040" y="1412776"/>
            <a:ext cx="3714750" cy="495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331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71522"/>
              </p:ext>
            </p:extLst>
          </p:nvPr>
        </p:nvGraphicFramePr>
        <p:xfrm>
          <a:off x="1640631" y="836712"/>
          <a:ext cx="7133049" cy="817525"/>
        </p:xfrm>
        <a:graphic>
          <a:graphicData uri="http://schemas.openxmlformats.org/drawingml/2006/table">
            <a:tbl>
              <a:tblPr/>
              <a:tblGrid>
                <a:gridCol w="7133049"/>
              </a:tblGrid>
              <a:tr h="8175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варийные ситуации и инциденты на объектах теплоснабжения</a:t>
                      </a:r>
                      <a:endParaRPr lang="ru-RU" sz="2000" b="1" i="0" u="none" strike="noStrike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pSp>
        <p:nvGrpSpPr>
          <p:cNvPr id="18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19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23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25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20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21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22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2770" y="5648960"/>
            <a:ext cx="594360" cy="396240"/>
          </a:xfrm>
        </p:spPr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45058" name="Picture 2" descr="E:\ятэк\20210818_10304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468" y="1712240"/>
            <a:ext cx="3186354" cy="4248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59" name="Picture 3" descr="E:\ятэк\20210818_15314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1700808"/>
            <a:ext cx="3096344" cy="4128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68625" y="6093295"/>
            <a:ext cx="90048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0" dirty="0">
                <a:latin typeface="+mn-lt"/>
                <a:cs typeface="+mn-cs"/>
              </a:rPr>
              <a:t>инциденты и авария привели к снижению параметров теплоносителя</a:t>
            </a:r>
          </a:p>
        </p:txBody>
      </p:sp>
    </p:spTree>
    <p:extLst>
      <p:ext uri="{BB962C8B-B14F-4D97-AF65-F5344CB8AC3E}">
        <p14:creationId xmlns:p14="http://schemas.microsoft.com/office/powerpoint/2010/main" val="419856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11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2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3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4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0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2770" y="5648960"/>
            <a:ext cx="594360" cy="396240"/>
          </a:xfrm>
        </p:spPr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28063"/>
              </p:ext>
            </p:extLst>
          </p:nvPr>
        </p:nvGraphicFramePr>
        <p:xfrm>
          <a:off x="268625" y="1340768"/>
          <a:ext cx="8505056" cy="313469"/>
        </p:xfrm>
        <a:graphic>
          <a:graphicData uri="http://schemas.openxmlformats.org/drawingml/2006/table">
            <a:tbl>
              <a:tblPr/>
              <a:tblGrid>
                <a:gridCol w="8505056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варийные ситуации и инциденты на объектах теплоснабжения</a:t>
                      </a:r>
                      <a:endParaRPr lang="ru-RU" sz="2000" b="1" i="0" u="none" strike="noStrike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948536"/>
              </p:ext>
            </p:extLst>
          </p:nvPr>
        </p:nvGraphicFramePr>
        <p:xfrm>
          <a:off x="638931" y="1988840"/>
          <a:ext cx="7920880" cy="1471709"/>
        </p:xfrm>
        <a:graphic>
          <a:graphicData uri="http://schemas.openxmlformats.org/drawingml/2006/table">
            <a:tbl>
              <a:tblPr/>
              <a:tblGrid>
                <a:gridCol w="7920880"/>
              </a:tblGrid>
              <a:tr h="1296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. Барнаул</a:t>
                      </a:r>
                    </a:p>
                    <a:p>
                      <a:pPr algn="ctr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тепловых сетях АО «Барнаульская генерация» допущено 59 аварийных ситуаций и инцидентов, которые привели к перерыву в теплоснабжении более 6 часов</a:t>
                      </a:r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968" y="3672108"/>
            <a:ext cx="3825721" cy="287168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70" y="3662980"/>
            <a:ext cx="3837879" cy="2880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73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11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6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7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8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12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3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4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0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2770" y="5648960"/>
            <a:ext cx="594360" cy="396240"/>
          </a:xfrm>
        </p:spPr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088442"/>
              </p:ext>
            </p:extLst>
          </p:nvPr>
        </p:nvGraphicFramePr>
        <p:xfrm>
          <a:off x="268625" y="1340768"/>
          <a:ext cx="8505056" cy="313469"/>
        </p:xfrm>
        <a:graphic>
          <a:graphicData uri="http://schemas.openxmlformats.org/drawingml/2006/table">
            <a:tbl>
              <a:tblPr/>
              <a:tblGrid>
                <a:gridCol w="8505056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варийные ситуации и инциденты на объектах теплоснабжения</a:t>
                      </a:r>
                      <a:endParaRPr lang="ru-RU" sz="2000" b="1" i="0" u="none" strike="noStrike" kern="12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862204"/>
              </p:ext>
            </p:extLst>
          </p:nvPr>
        </p:nvGraphicFramePr>
        <p:xfrm>
          <a:off x="638931" y="1988840"/>
          <a:ext cx="4098045" cy="4464496"/>
        </p:xfrm>
        <a:graphic>
          <a:graphicData uri="http://schemas.openxmlformats.org/drawingml/2006/table">
            <a:tbl>
              <a:tblPr/>
              <a:tblGrid>
                <a:gridCol w="4098045"/>
              </a:tblGrid>
              <a:tr h="44644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.Бочкари</a:t>
                      </a:r>
                      <a:endParaRPr lang="ru-RU" sz="2400" b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03.2022 аварийная ситуация произошла на котельной в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.Бочкари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Целинного района МУП ЖКХ «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чкари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», из-за перерыва электроснабжения и 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кращения 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иркуляции воды через котёл произошло повышение давления воды и 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реждение 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тла</a:t>
                      </a:r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44034" name="Picture 2" descr="C:\Users\pleshivcev\Downloads\IMG_20220330_1154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6976" y="2780928"/>
            <a:ext cx="4310947" cy="3233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6783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/>
              <a:t>П</a:t>
            </a:r>
            <a:r>
              <a:rPr lang="ru-RU" sz="2000" dirty="0" smtClean="0"/>
              <a:t>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931701"/>
              </p:ext>
            </p:extLst>
          </p:nvPr>
        </p:nvGraphicFramePr>
        <p:xfrm>
          <a:off x="560512" y="1412776"/>
          <a:ext cx="8130493" cy="5495069"/>
        </p:xfrm>
        <a:graphic>
          <a:graphicData uri="http://schemas.openxmlformats.org/drawingml/2006/table">
            <a:tbl>
              <a:tblPr/>
              <a:tblGrid>
                <a:gridCol w="8130493"/>
              </a:tblGrid>
              <a:tr h="5183436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рка теплоснабжающих,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плосетевых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рганизаций и потребителей тепловой энергии к отопительному периоду осуществляется органами местного самоуправления поселений, городских округов 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 подготовке к отопительному периоду для обеспечения надежности теплоснабжения потребителей, теплоснабжающим и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плосетевым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рганизациям необходимо выполнить в установленные сроки комплекс мероприятий, основными из которых являются: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устранение выявленных нарушений в тепловых и гидравлических режимах работы тепловых энергоустановок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испытания оборудования источников теплоты, тепловых сетей, тепловых пунктов и систем теплопотребления на плотность и прочность;</a:t>
                      </a:r>
                    </a:p>
                    <a:p>
                      <a:pPr marL="0" algn="just" defTabSz="914400" rtl="0" eaLnBrk="1" fontAlgn="ctr" latinLnBrk="0" hangingPunct="1"/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72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grpSp>
        <p:nvGrpSpPr>
          <p:cNvPr id="4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5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9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0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1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6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7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8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Прямоугольник 16"/>
          <p:cNvSpPr/>
          <p:nvPr/>
        </p:nvSpPr>
        <p:spPr>
          <a:xfrm>
            <a:off x="784046" y="901088"/>
            <a:ext cx="81369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000" dirty="0" smtClean="0"/>
              <a:t> Подготовка </a:t>
            </a:r>
            <a:r>
              <a:rPr lang="ru-RU" sz="2000" dirty="0"/>
              <a:t>к прохождению осенне-зимнего периода 2022-2023</a:t>
            </a:r>
            <a:endParaRPr lang="ru-RU" sz="2000" dirty="0">
              <a:latin typeface="Times New Roman"/>
              <a:ea typeface="Times New Roman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4290"/>
              </p:ext>
            </p:extLst>
          </p:nvPr>
        </p:nvGraphicFramePr>
        <p:xfrm>
          <a:off x="632520" y="1233214"/>
          <a:ext cx="8136904" cy="5674631"/>
        </p:xfrm>
        <a:graphic>
          <a:graphicData uri="http://schemas.openxmlformats.org/drawingml/2006/table">
            <a:tbl>
              <a:tblPr/>
              <a:tblGrid>
                <a:gridCol w="8136904"/>
              </a:tblGrid>
              <a:tr h="5674631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24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урфовки</a:t>
                      </a:r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тепловых сетей, вырезки из трубопроводов для определения коррозионного износа металла труб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промывка оборудования и коммуникаций источников теплоты, трубопроводов тепловых сетей, тепловых пунктов и систем теплопотребления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испытания тепловых сетей на тепловые и гидравлические потери, максимальную температуру теплоносителя в соответствии с установленными  сроками;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разработка эксплуатационных режимов систем теплоснабжения, а также мероприятий по их внедрению.</a:t>
                      </a:r>
                    </a:p>
                    <a:p>
                      <a:pPr marL="0" algn="just" defTabSz="914400" rtl="0" eaLnBrk="1" fontAlgn="ctr" latinLnBrk="0" hangingPunct="1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 подготовке к предстоящему отопительному периоду выявляются дефекты в работе оборудования и отклонения от гидравлического и теплового режимов, составляются планы работ, подготавливается необходимая техническая документация и материально-технические ресурсы. </a:t>
                      </a:r>
                      <a:endParaRPr lang="ru-RU" sz="2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91" marR="9391" marT="866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636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 advClick="0">
        <p14:pan dir="u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Соседство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20739</TotalTime>
  <Words>1054</Words>
  <Application>Microsoft Office PowerPoint</Application>
  <PresentationFormat>Лист A4 (210x297 мм)</PresentationFormat>
  <Paragraphs>131</Paragraphs>
  <Slides>1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Соседств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Андрей Александрович Плешивцев</cp:lastModifiedBy>
  <cp:revision>1221</cp:revision>
  <cp:lastPrinted>2022-03-15T08:37:37Z</cp:lastPrinted>
  <dcterms:created xsi:type="dcterms:W3CDTF">2012-04-16T06:44:06Z</dcterms:created>
  <dcterms:modified xsi:type="dcterms:W3CDTF">2022-06-30T02:29:01Z</dcterms:modified>
</cp:coreProperties>
</file>